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6" r:id="rId1"/>
  </p:sldMasterIdLst>
  <p:notesMasterIdLst>
    <p:notesMasterId r:id="rId14"/>
  </p:notesMasterIdLst>
  <p:sldIdLst>
    <p:sldId id="275" r:id="rId2"/>
    <p:sldId id="286" r:id="rId3"/>
    <p:sldId id="287" r:id="rId4"/>
    <p:sldId id="288" r:id="rId5"/>
    <p:sldId id="284" r:id="rId6"/>
    <p:sldId id="278" r:id="rId7"/>
    <p:sldId id="289" r:id="rId8"/>
    <p:sldId id="281" r:id="rId9"/>
    <p:sldId id="273" r:id="rId10"/>
    <p:sldId id="282" r:id="rId11"/>
    <p:sldId id="283" r:id="rId12"/>
    <p:sldId id="290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4" d="100"/>
          <a:sy n="64" d="100"/>
        </p:scale>
        <p:origin x="-1330" y="-7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2910" y="-96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F4FE38-4BBB-458E-8404-C8E5EF1A0562}" type="datetimeFigureOut">
              <a:rPr lang="en-US" smtClean="0"/>
              <a:pPr/>
              <a:t>9/2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546149-37D5-45C4-98BB-ABCCF41CF4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53827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3201" y="6381752"/>
            <a:ext cx="143986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6"/>
          <p:cNvSpPr>
            <a:spLocks noChangeArrowheads="1"/>
          </p:cNvSpPr>
          <p:nvPr userDrawn="1"/>
        </p:nvSpPr>
        <p:spPr bwMode="auto">
          <a:xfrm>
            <a:off x="0" y="6286502"/>
            <a:ext cx="9145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Freeform 23"/>
          <p:cNvSpPr>
            <a:spLocks/>
          </p:cNvSpPr>
          <p:nvPr/>
        </p:nvSpPr>
        <p:spPr bwMode="auto">
          <a:xfrm>
            <a:off x="0" y="41"/>
            <a:ext cx="3191608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88000"/>
          </a:xfrm>
        </p:spPr>
        <p:txBody>
          <a:bodyPr anchor="ctr"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939214" y="6732590"/>
            <a:ext cx="198437" cy="103187"/>
          </a:xfrm>
          <a:prstGeom prst="rect">
            <a:avLst/>
          </a:prstGeom>
        </p:spPr>
        <p:txBody>
          <a:bodyPr/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1A9386F-0428-4DE0-B13F-42A1834A472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4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4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9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95400" y="2561414"/>
            <a:ext cx="6705600" cy="791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0" b="1" dirty="0" smtClean="0">
                <a:latin typeface="+mj-lt"/>
                <a:ea typeface="+mj-ea"/>
                <a:cs typeface="+mj-cs"/>
              </a:rPr>
              <a:t>Comms </a:t>
            </a:r>
            <a:r>
              <a:rPr lang="en-GB" sz="16000" b="1" smtClean="0">
                <a:latin typeface="+mj-lt"/>
                <a:ea typeface="+mj-ea"/>
                <a:cs typeface="+mj-cs"/>
              </a:rPr>
              <a:t>– </a:t>
            </a:r>
            <a:r>
              <a:rPr lang="en-GB" sz="16000" b="1" smtClean="0">
                <a:latin typeface="+mj-lt"/>
                <a:ea typeface="+mj-ea"/>
                <a:cs typeface="+mj-cs"/>
              </a:rPr>
              <a:t>Direct UPDATEDAAAAAAAAAAAAAA</a:t>
            </a:r>
            <a:endParaRPr lang="en-GB" sz="16000" b="1" dirty="0" smtClean="0">
              <a:latin typeface="+mj-lt"/>
              <a:ea typeface="+mj-ea"/>
              <a:cs typeface="+mj-cs"/>
            </a:endParaRPr>
          </a:p>
          <a:p>
            <a:pPr lvl="0" algn="ctr">
              <a:defRPr/>
            </a:pPr>
            <a:endParaRPr lang="en-GB" sz="14000" b="1" dirty="0" smtClean="0">
              <a:latin typeface="Calibri" pitchFamily="34" charset="0"/>
              <a:cs typeface="Calibri" pitchFamily="34" charset="0"/>
            </a:endParaRPr>
          </a:p>
          <a:p>
            <a:pPr lvl="0" algn="ctr">
              <a:defRPr/>
            </a:pPr>
            <a:r>
              <a:rPr lang="en-GB" sz="14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Capgemini’s Telco Rapid Cloud Solution on Orac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Proposed Staffing &amp; Budget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228600" y="1219200"/>
            <a:ext cx="77724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14350" marR="0" lvl="0" indent="-51435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552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38200" y="990600"/>
            <a:ext cx="7543800" cy="373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838200" y="4876800"/>
            <a:ext cx="3352800" cy="451723"/>
          </a:xfrm>
          <a:prstGeom prst="roundRect">
            <a:avLst>
              <a:gd name="adj" fmla="val 8675"/>
            </a:avLst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2200" b="1" dirty="0" smtClean="0">
                <a:latin typeface="Calibri" pitchFamily="34" charset="0"/>
                <a:cs typeface="Calibri" pitchFamily="34" charset="0"/>
              </a:rPr>
              <a:t>Total Effort </a:t>
            </a:r>
            <a:r>
              <a:rPr lang="en-US" sz="2200" dirty="0" smtClean="0">
                <a:latin typeface="Calibri" pitchFamily="34" charset="0"/>
                <a:cs typeface="Calibri" pitchFamily="34" charset="0"/>
              </a:rPr>
              <a:t> - 11,892 hours</a:t>
            </a: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4953000" y="4882277"/>
            <a:ext cx="3352800" cy="451723"/>
          </a:xfrm>
          <a:prstGeom prst="roundRect">
            <a:avLst>
              <a:gd name="adj" fmla="val 8675"/>
            </a:avLst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2200" b="1" dirty="0" smtClean="0">
                <a:latin typeface="Calibri" pitchFamily="34" charset="0"/>
                <a:cs typeface="Calibri" pitchFamily="34" charset="0"/>
              </a:rPr>
              <a:t>Budgeted Cost  </a:t>
            </a:r>
            <a:r>
              <a:rPr lang="en-US" sz="2200" dirty="0" smtClean="0">
                <a:latin typeface="Calibri" pitchFamily="34" charset="0"/>
                <a:cs typeface="Calibri" pitchFamily="34" charset="0"/>
              </a:rPr>
              <a:t>-  $102,420  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04800" y="5486400"/>
            <a:ext cx="8651631" cy="677585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b="1" dirty="0" smtClean="0"/>
              <a:t>Note – The above cost is only for staffing requirements.  It does not include other costs like Environment,  licenses etc.</a:t>
            </a:r>
            <a:endParaRPr 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Risks &amp; Dependencies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228600" y="1219200"/>
            <a:ext cx="77724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14350" marR="0" lvl="0" indent="-51435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81000" y="1371600"/>
            <a:ext cx="77724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1">
              <a:spcBef>
                <a:spcPct val="0"/>
              </a:spcBef>
              <a:defRPr/>
            </a:pPr>
            <a:endParaRPr lang="en-US" noProof="0" dirty="0" smtClean="0">
              <a:latin typeface="+mj-lt"/>
              <a:ea typeface="+mj-ea"/>
              <a:cs typeface="+mj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387969" y="1066800"/>
            <a:ext cx="1605168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Risks</a:t>
            </a:r>
            <a:endParaRPr lang="en-US" sz="2000" b="1" dirty="0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263769" y="1447800"/>
            <a:ext cx="8651631" cy="216181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600" dirty="0" smtClean="0"/>
              <a:t> Delay in procuring the specific environments based on planned dates may impact timelines.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Delay in procuring the skilled resources based on planned dates may impact timelines.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Lack of past experience in areas like CPQ &amp; Service Cloud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Lack of past experience in integrating CX Cloud applications as well as their integration with OBIEE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Any  unanticipated  &amp; unresolved  blocking issues or product limitations from Oracle may  requiring replanning  the scope &amp; timelines.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Staffing of niche skills like RightNow, CPQ Cloud (BigMachines) &amp; BRM by planned dates.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Not much visibility on Oracle’s solution for Comms industry. May lead so some future realignment.</a:t>
            </a:r>
          </a:p>
        </p:txBody>
      </p:sp>
      <p:sp>
        <p:nvSpPr>
          <p:cNvPr id="7" name="Rectangle 6"/>
          <p:cNvSpPr/>
          <p:nvPr/>
        </p:nvSpPr>
        <p:spPr>
          <a:xfrm>
            <a:off x="3387969" y="3657600"/>
            <a:ext cx="1752600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Dependencies</a:t>
            </a:r>
            <a:endParaRPr lang="en-US" sz="2000" b="1" dirty="0"/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63769" y="4038600"/>
            <a:ext cx="8651631" cy="216181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</a:t>
            </a:r>
            <a:r>
              <a:rPr lang="en-US" sz="1600" b="1" dirty="0" smtClean="0"/>
              <a:t>Two</a:t>
            </a:r>
            <a:r>
              <a:rPr lang="en-US" sz="1600" dirty="0" smtClean="0"/>
              <a:t> instances of dedicated environments &amp; Licenses  for each of the below applications (with ETA) </a:t>
            </a:r>
          </a:p>
          <a:p>
            <a:pPr lvl="1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/>
              <a:t>  Sales Cloud  -  22 June 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CPQ Cloud (Big Machines) – 20 July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Service Cloud (RightNow) – 20 July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BRM – 22 June 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Fusion Middleware – 20 July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OBIEE – 22 June 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Availability of </a:t>
            </a:r>
            <a:r>
              <a:rPr lang="en-US" sz="1600" b="1" dirty="0" smtClean="0"/>
              <a:t>dedicated</a:t>
            </a:r>
            <a:r>
              <a:rPr lang="en-US" sz="1600" dirty="0" smtClean="0"/>
              <a:t> resources based on planned dates as per proposed timelin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Environment Dependencies</a:t>
            </a:r>
            <a:endParaRPr lang="en-US" sz="2800" dirty="0">
              <a:solidFill>
                <a:schemeClr val="tx1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4400" y="1524000"/>
            <a:ext cx="7239000" cy="319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r>
              <a:rPr lang="sv-SE" sz="2800" dirty="0" smtClean="0">
                <a:solidFill>
                  <a:schemeClr val="tx1"/>
                </a:solidFill>
              </a:rPr>
              <a:t>What we hear from the Telco customers......</a:t>
            </a:r>
            <a:endParaRPr lang="sv-SE" sz="2800" dirty="0">
              <a:solidFill>
                <a:schemeClr val="tx1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/>
        </p:nvSpPr>
        <p:spPr>
          <a:xfrm>
            <a:off x="424458" y="1219200"/>
            <a:ext cx="8262342" cy="50297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1" u="none" strike="noStrike" kern="1200" cap="none" spc="0" normalizeH="0" baseline="0" noProof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	</a:t>
            </a:r>
            <a:endParaRPr kumimoji="0" lang="sv-SE" sz="2400" b="1" i="1" u="none" strike="noStrike" kern="1200" cap="none" spc="0" normalizeH="0" baseline="0" noProof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228600" y="1514038"/>
            <a:ext cx="8651631" cy="3667562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2200" dirty="0" smtClean="0">
                <a:latin typeface="Calibri" pitchFamily="34" charset="0"/>
                <a:cs typeface="Calibri" pitchFamily="34" charset="0"/>
              </a:rPr>
              <a:t>We need to simplify our Business 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are not able to respond to the market needs with our existing IT Platform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don’t have a Capital Budget to run big transformation programs 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reduced and predictable operating costs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don’t have the skills in-house 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to act now and show results in months rather than years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to improve customer experience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to transform the business, but we don’t “know how”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hat is Cloud Computing? What is RODOD?</a:t>
            </a: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40677" y="1447800"/>
            <a:ext cx="8651631" cy="1258372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latin typeface="Calibri" pitchFamily="34" charset="0"/>
              </a:rPr>
              <a:t>Cloud computing allows application software to be operated using internet-enabled devices. </a:t>
            </a:r>
            <a:r>
              <a:rPr lang="en-US" sz="1600" dirty="0" smtClean="0">
                <a:latin typeface="Calibri" pitchFamily="34" charset="0"/>
              </a:rPr>
              <a:t>Cloud computing relies on sharing of resources to achieve coherence and economies of scale, similar to a utility (like the electricity grid) over a network. At the foundation of cloud computing is the broader concept of converged infrastructure and shared services..</a:t>
            </a: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4114800" y="3932357"/>
            <a:ext cx="4501662" cy="2011243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sz="1600" u="sng" dirty="0" smtClean="0">
                <a:latin typeface="Calibri" pitchFamily="34" charset="0"/>
                <a:cs typeface="Calibri" pitchFamily="34" charset="0"/>
              </a:rPr>
              <a:t>Application: 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RODOD as a product-based and pre-integrated solution allows you to accelerate design and delivery of products, services, and bundles across multiple channels rapidly and accurately to improve customer satisfaction.</a:t>
            </a:r>
          </a:p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	It is a Business Suite of applications primarily based on Siebel CRM, OSM, BRM &amp; AIA</a:t>
            </a:r>
          </a:p>
        </p:txBody>
      </p:sp>
      <p:pic>
        <p:nvPicPr>
          <p:cNvPr id="20" name="Picture 2" descr="http://upload.wikimedia.org/wikipedia/commons/thumb/b/b5/Cloud_computing.svg/400px-Cloud_computing.sv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1692" y="2743201"/>
            <a:ext cx="3657600" cy="3585973"/>
          </a:xfrm>
          <a:prstGeom prst="rect">
            <a:avLst/>
          </a:prstGeom>
          <a:noFill/>
        </p:spPr>
      </p:pic>
      <p:sp>
        <p:nvSpPr>
          <p:cNvPr id="21" name="TextBox 20"/>
          <p:cNvSpPr txBox="1"/>
          <p:nvPr/>
        </p:nvSpPr>
        <p:spPr>
          <a:xfrm flipH="1">
            <a:off x="4267200" y="3048000"/>
            <a:ext cx="41499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 smtClean="0">
                <a:latin typeface="Calibri" pitchFamily="34" charset="0"/>
              </a:rPr>
              <a:t>RODOD- Rapid Offer Design and Order Delivery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Key Drivers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52800" y="3581400"/>
            <a:ext cx="2286000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Why Cloud for Telco</a:t>
            </a:r>
            <a:endParaRPr lang="en-US" sz="2000" b="1" dirty="0"/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187569" y="3996154"/>
            <a:ext cx="8651631" cy="1763871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The cloud based RODOD - Lite solution will be up running instantly allowing “Look and Feel” early in the journey towards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simplified and standardized business operations</a:t>
            </a:r>
          </a:p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Traditional cloud benefits such as minimized upfront investment, reduced TCO, Pay as you go,  continuous functional upgrades as the solution evolves</a:t>
            </a:r>
          </a:p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Minimized Risk: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Early success or fast failure</a:t>
            </a: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228600" y="1066800"/>
            <a:ext cx="8651631" cy="2419945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 Offer a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light weight &amp; low cost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alternative E2E solution to the Oracle RODOD Framework for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Tier 3 &amp; Tier 4 Telco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customers targeted towards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next gen subscription based services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like Broadband, VOIP, IP TV,  Mobile Services etc.</a:t>
            </a:r>
          </a:p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 Increase  sales force adoption with a simple, easy-to-use UI tailored to Sales Reps and Sales Executives &amp; multi channel experience over cloud platform </a:t>
            </a:r>
          </a:p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 Complete customer lifecycle management including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Concept to Cash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 and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Unified Customer and Billing Care</a:t>
            </a:r>
          </a:p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 Offer rich &amp; robust functionality around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Analytics, Mobility &amp; Security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228600" y="5817275"/>
            <a:ext cx="8651631" cy="387191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Tbaytel  (Canada) &amp; AT&amp;T potential clients in this regard with whom we are collaborating</a:t>
            </a:r>
            <a:endParaRPr lang="en-US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Solution Architecture (RODOD - Lite for Telco)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76200" y="1524000"/>
            <a:ext cx="7772400" cy="381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514600" y="1066800"/>
            <a:ext cx="6172200" cy="990600"/>
          </a:xfrm>
          <a:prstGeom prst="rect">
            <a:avLst/>
          </a:prstGeom>
          <a:solidFill>
            <a:schemeClr val="accent1">
              <a:alpha val="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ustomer Relationship Management</a:t>
            </a:r>
            <a:endParaRPr lang="en-US" sz="1400" dirty="0"/>
          </a:p>
        </p:txBody>
      </p:sp>
      <p:sp>
        <p:nvSpPr>
          <p:cNvPr id="5" name="Rectangle 4"/>
          <p:cNvSpPr/>
          <p:nvPr/>
        </p:nvSpPr>
        <p:spPr>
          <a:xfrm>
            <a:off x="2590800" y="1143000"/>
            <a:ext cx="762000" cy="838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R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181600" y="11430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ustomer Mgm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81600" y="16002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ales (Oppty, Leads)</a:t>
            </a:r>
          </a:p>
        </p:txBody>
      </p:sp>
      <p:sp>
        <p:nvSpPr>
          <p:cNvPr id="13" name="Cloud 12"/>
          <p:cNvSpPr/>
          <p:nvPr/>
        </p:nvSpPr>
        <p:spPr>
          <a:xfrm>
            <a:off x="3581400" y="1143000"/>
            <a:ext cx="1447800" cy="762000"/>
          </a:xfrm>
          <a:prstGeom prst="cloud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ales Cloud</a:t>
            </a:r>
            <a:endParaRPr lang="en-US" dirty="0"/>
          </a:p>
        </p:txBody>
      </p:sp>
      <p:grpSp>
        <p:nvGrpSpPr>
          <p:cNvPr id="2" name="Group 65"/>
          <p:cNvGrpSpPr/>
          <p:nvPr/>
        </p:nvGrpSpPr>
        <p:grpSpPr>
          <a:xfrm>
            <a:off x="129869" y="4267200"/>
            <a:ext cx="2711302" cy="1709318"/>
            <a:chOff x="304800" y="2133600"/>
            <a:chExt cx="3276600" cy="1905000"/>
          </a:xfrm>
        </p:grpSpPr>
        <p:sp>
          <p:nvSpPr>
            <p:cNvPr id="44" name="Rectangle 43"/>
            <p:cNvSpPr/>
            <p:nvPr/>
          </p:nvSpPr>
          <p:spPr>
            <a:xfrm>
              <a:off x="304800" y="2133600"/>
              <a:ext cx="3276600" cy="1905000"/>
            </a:xfrm>
            <a:prstGeom prst="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Customer Relationship Management</a:t>
              </a:r>
              <a:endParaRPr lang="en-US" sz="1400" dirty="0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381000" y="2209800"/>
              <a:ext cx="1295400" cy="8382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Mgm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381000" y="31242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Quote Mgm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1981200" y="35814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Mgm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1981200" y="31242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Products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381000" y="35814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Pricing</a:t>
              </a:r>
            </a:p>
          </p:txBody>
        </p:sp>
        <p:sp>
          <p:nvSpPr>
            <p:cNvPr id="52" name="Cloud 51"/>
            <p:cNvSpPr/>
            <p:nvPr/>
          </p:nvSpPr>
          <p:spPr>
            <a:xfrm>
              <a:off x="1805428" y="2209800"/>
              <a:ext cx="1600200" cy="762000"/>
            </a:xfrm>
            <a:prstGeom prst="cloud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PQ</a:t>
              </a:r>
              <a:endParaRPr lang="en-US" dirty="0"/>
            </a:p>
          </p:txBody>
        </p:sp>
      </p:grpSp>
      <p:grpSp>
        <p:nvGrpSpPr>
          <p:cNvPr id="3" name="Group 54"/>
          <p:cNvGrpSpPr/>
          <p:nvPr/>
        </p:nvGrpSpPr>
        <p:grpSpPr>
          <a:xfrm rot="10800000">
            <a:off x="4495801" y="2514603"/>
            <a:ext cx="788436" cy="3733797"/>
            <a:chOff x="5029200" y="2133600"/>
            <a:chExt cx="533400" cy="4343400"/>
          </a:xfrm>
        </p:grpSpPr>
        <p:sp>
          <p:nvSpPr>
            <p:cNvPr id="24" name="Rounded Rectangle 23"/>
            <p:cNvSpPr/>
            <p:nvPr/>
          </p:nvSpPr>
          <p:spPr>
            <a:xfrm>
              <a:off x="5029200" y="2133600"/>
              <a:ext cx="533400" cy="4343400"/>
            </a:xfrm>
            <a:prstGeom prst="roundRect">
              <a:avLst/>
            </a:prstGeom>
            <a:solidFill>
              <a:schemeClr val="tx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b" anchorCtr="0"/>
            <a:lstStyle/>
            <a:p>
              <a:pPr algn="ctr"/>
              <a:r>
                <a:rPr lang="en-US" sz="3200" dirty="0" smtClean="0"/>
                <a:t>ESB</a:t>
              </a:r>
              <a:endParaRPr lang="en-US" sz="3200" dirty="0"/>
            </a:p>
          </p:txBody>
        </p:sp>
        <p:sp>
          <p:nvSpPr>
            <p:cNvPr id="53" name="Rectangle 52"/>
            <p:cNvSpPr/>
            <p:nvPr/>
          </p:nvSpPr>
          <p:spPr>
            <a:xfrm rot="16200000">
              <a:off x="4533900" y="2857500"/>
              <a:ext cx="1524000" cy="381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Decomposit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 rot="16200000">
              <a:off x="4701548" y="5300008"/>
              <a:ext cx="1188705" cy="4572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Orchestrat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8" name="Rectangle 67"/>
          <p:cNvSpPr/>
          <p:nvPr/>
        </p:nvSpPr>
        <p:spPr>
          <a:xfrm>
            <a:off x="5379720" y="3276600"/>
            <a:ext cx="1097280" cy="3657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Customer Sync</a:t>
            </a:r>
          </a:p>
        </p:txBody>
      </p:sp>
      <p:sp>
        <p:nvSpPr>
          <p:cNvPr id="73" name="Rectangle 72"/>
          <p:cNvSpPr/>
          <p:nvPr/>
        </p:nvSpPr>
        <p:spPr>
          <a:xfrm>
            <a:off x="2895600" y="5351882"/>
            <a:ext cx="1447800" cy="304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Order Submit</a:t>
            </a:r>
          </a:p>
        </p:txBody>
      </p:sp>
      <p:sp>
        <p:nvSpPr>
          <p:cNvPr id="78" name="Rectangle 77"/>
          <p:cNvSpPr/>
          <p:nvPr/>
        </p:nvSpPr>
        <p:spPr>
          <a:xfrm>
            <a:off x="2895600" y="4572002"/>
            <a:ext cx="1447800" cy="4472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Quote\Order Entry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Asset Creation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934200" y="16002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sset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400800" y="5181604"/>
            <a:ext cx="2438400" cy="401653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Order Provisioning Systems</a:t>
            </a:r>
          </a:p>
        </p:txBody>
      </p:sp>
      <p:grpSp>
        <p:nvGrpSpPr>
          <p:cNvPr id="7" name="Group 42"/>
          <p:cNvGrpSpPr/>
          <p:nvPr/>
        </p:nvGrpSpPr>
        <p:grpSpPr>
          <a:xfrm>
            <a:off x="6629402" y="3048004"/>
            <a:ext cx="2209798" cy="1904996"/>
            <a:chOff x="304800" y="3739896"/>
            <a:chExt cx="2862257" cy="1659656"/>
          </a:xfrm>
        </p:grpSpPr>
        <p:sp>
          <p:nvSpPr>
            <p:cNvPr id="10" name="Rectangle 9"/>
            <p:cNvSpPr/>
            <p:nvPr/>
          </p:nvSpPr>
          <p:spPr>
            <a:xfrm>
              <a:off x="304800" y="3739896"/>
              <a:ext cx="2862257" cy="1659656"/>
            </a:xfrm>
            <a:prstGeom prst="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Customer Relationship Management</a:t>
              </a:r>
              <a:endParaRPr lang="en-US" sz="1400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95817" y="3806282"/>
              <a:ext cx="2665735" cy="464705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BRM</a:t>
              </a:r>
              <a:endParaRPr lang="en-US" sz="1400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80999" y="4354691"/>
              <a:ext cx="1198035" cy="38099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Billing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80999" y="4868462"/>
              <a:ext cx="1198035" cy="39831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Invoicing</a:t>
              </a: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1670052" y="4868461"/>
              <a:ext cx="1398307" cy="39831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Revenue Follow up</a:t>
              </a:r>
            </a:p>
          </p:txBody>
        </p:sp>
      </p:grpSp>
      <p:sp>
        <p:nvSpPr>
          <p:cNvPr id="92" name="Rectangle 91"/>
          <p:cNvSpPr/>
          <p:nvPr/>
        </p:nvSpPr>
        <p:spPr>
          <a:xfrm>
            <a:off x="2957286" y="5914572"/>
            <a:ext cx="1447800" cy="381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Order Completion</a:t>
            </a:r>
          </a:p>
        </p:txBody>
      </p:sp>
      <p:cxnSp>
        <p:nvCxnSpPr>
          <p:cNvPr id="123" name="Straight Arrow Connector 122"/>
          <p:cNvCxnSpPr/>
          <p:nvPr/>
        </p:nvCxnSpPr>
        <p:spPr>
          <a:xfrm>
            <a:off x="5333999" y="5410204"/>
            <a:ext cx="990604" cy="0"/>
          </a:xfrm>
          <a:prstGeom prst="straightConnector1">
            <a:avLst/>
          </a:prstGeom>
          <a:ln w="254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 124"/>
          <p:cNvSpPr/>
          <p:nvPr/>
        </p:nvSpPr>
        <p:spPr>
          <a:xfrm>
            <a:off x="5333999" y="4083981"/>
            <a:ext cx="1143003" cy="4118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Billing Order Provisioning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5405849" y="5682086"/>
            <a:ext cx="1219200" cy="4139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echnical Order Provisioning</a:t>
            </a:r>
          </a:p>
        </p:txBody>
      </p:sp>
      <p:sp>
        <p:nvSpPr>
          <p:cNvPr id="64" name="Rectangle 63"/>
          <p:cNvSpPr/>
          <p:nvPr/>
        </p:nvSpPr>
        <p:spPr>
          <a:xfrm>
            <a:off x="6934200" y="11430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roducts  (Basic Setup)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5" name="Straight Arrow Connector 84"/>
          <p:cNvCxnSpPr/>
          <p:nvPr/>
        </p:nvCxnSpPr>
        <p:spPr>
          <a:xfrm flipH="1">
            <a:off x="5334000" y="3752808"/>
            <a:ext cx="1238253" cy="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800600" y="2057400"/>
            <a:ext cx="0" cy="45720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/>
          <p:cNvCxnSpPr/>
          <p:nvPr/>
        </p:nvCxnSpPr>
        <p:spPr>
          <a:xfrm>
            <a:off x="5333999" y="4648200"/>
            <a:ext cx="1219204" cy="0"/>
          </a:xfrm>
          <a:prstGeom prst="straightConnector1">
            <a:avLst/>
          </a:prstGeom>
          <a:ln w="254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Arrow Connector 106"/>
          <p:cNvCxnSpPr/>
          <p:nvPr/>
        </p:nvCxnSpPr>
        <p:spPr>
          <a:xfrm flipH="1" flipV="1">
            <a:off x="2819401" y="5181600"/>
            <a:ext cx="1676399" cy="4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>
            <a:off x="2809645" y="5791200"/>
            <a:ext cx="1742472" cy="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/>
        </p:nvSpPr>
        <p:spPr>
          <a:xfrm>
            <a:off x="7696200" y="3733800"/>
            <a:ext cx="1021080" cy="45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roduct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197985" y="2605314"/>
            <a:ext cx="2638123" cy="1418948"/>
          </a:xfrm>
          <a:prstGeom prst="rect">
            <a:avLst/>
          </a:prstGeom>
          <a:solidFill>
            <a:schemeClr val="accent1">
              <a:alpha val="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ustomer Relationship Management</a:t>
            </a:r>
            <a:endParaRPr lang="en-US" sz="1400" dirty="0"/>
          </a:p>
        </p:txBody>
      </p:sp>
      <p:sp>
        <p:nvSpPr>
          <p:cNvPr id="66" name="Rectangle 65"/>
          <p:cNvSpPr/>
          <p:nvPr/>
        </p:nvSpPr>
        <p:spPr>
          <a:xfrm>
            <a:off x="304800" y="2667000"/>
            <a:ext cx="876300" cy="62433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Incident Mgm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201347" y="3503149"/>
            <a:ext cx="1227034" cy="37655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Knowledge Bas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489733" y="3503149"/>
            <a:ext cx="1227034" cy="37655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ustomer Center</a:t>
            </a:r>
          </a:p>
        </p:txBody>
      </p:sp>
      <p:sp>
        <p:nvSpPr>
          <p:cNvPr id="72" name="Cloud 71"/>
          <p:cNvSpPr/>
          <p:nvPr/>
        </p:nvSpPr>
        <p:spPr>
          <a:xfrm>
            <a:off x="1260592" y="2675927"/>
            <a:ext cx="1482608" cy="676873"/>
          </a:xfrm>
          <a:prstGeom prst="cloud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Service Cloud</a:t>
            </a:r>
            <a:endParaRPr lang="en-US" sz="1300" dirty="0"/>
          </a:p>
        </p:txBody>
      </p:sp>
      <p:cxnSp>
        <p:nvCxnSpPr>
          <p:cNvPr id="74" name="Straight Arrow Connector 73"/>
          <p:cNvCxnSpPr/>
          <p:nvPr/>
        </p:nvCxnSpPr>
        <p:spPr>
          <a:xfrm flipV="1">
            <a:off x="2667000" y="2057400"/>
            <a:ext cx="0" cy="45720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n 7"/>
          <p:cNvSpPr/>
          <p:nvPr/>
        </p:nvSpPr>
        <p:spPr>
          <a:xfrm>
            <a:off x="3276599" y="2590804"/>
            <a:ext cx="914399" cy="1190255"/>
          </a:xfrm>
          <a:prstGeom prst="can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smtClean="0"/>
              <a:t>OBIEE</a:t>
            </a:r>
            <a:endParaRPr lang="en-US" dirty="0"/>
          </a:p>
        </p:txBody>
      </p:sp>
      <p:cxnSp>
        <p:nvCxnSpPr>
          <p:cNvPr id="55" name="Straight Arrow Connector 54"/>
          <p:cNvCxnSpPr/>
          <p:nvPr/>
        </p:nvCxnSpPr>
        <p:spPr>
          <a:xfrm flipV="1">
            <a:off x="3733799" y="2057400"/>
            <a:ext cx="1" cy="45720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endCxn id="65" idx="3"/>
          </p:cNvCxnSpPr>
          <p:nvPr/>
        </p:nvCxnSpPr>
        <p:spPr>
          <a:xfrm flipH="1">
            <a:off x="2836108" y="3314787"/>
            <a:ext cx="440492" cy="1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8" idx="3"/>
          </p:cNvCxnSpPr>
          <p:nvPr/>
        </p:nvCxnSpPr>
        <p:spPr>
          <a:xfrm rot="5400000">
            <a:off x="3007697" y="3609471"/>
            <a:ext cx="554515" cy="897690"/>
          </a:xfrm>
          <a:prstGeom prst="bentConnector2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>
          <a:xfrm>
            <a:off x="3332958" y="3213572"/>
            <a:ext cx="781842" cy="43085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Reports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75" name="Picture 8" descr="Bildresultat för omni channe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1000" y="1066800"/>
            <a:ext cx="1905000" cy="1219200"/>
          </a:xfrm>
          <a:prstGeom prst="rect">
            <a:avLst/>
          </a:prstGeom>
          <a:noFill/>
        </p:spPr>
      </p:pic>
      <p:cxnSp>
        <p:nvCxnSpPr>
          <p:cNvPr id="76" name="Straight Arrow Connector 75"/>
          <p:cNvCxnSpPr/>
          <p:nvPr/>
        </p:nvCxnSpPr>
        <p:spPr>
          <a:xfrm flipV="1">
            <a:off x="7467600" y="2133600"/>
            <a:ext cx="0" cy="83820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5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880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Order to Cash to Care – Business Process Flow</a:t>
            </a:r>
            <a:endParaRPr lang="en-US" sz="2800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" y="1295400"/>
            <a:ext cx="80772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285289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Leverage &amp; Enrich CRM Advantage 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152399" y="1295400"/>
            <a:ext cx="4044267" cy="4724399"/>
          </a:xfrm>
          <a:prstGeom prst="roundRect">
            <a:avLst>
              <a:gd name="adj" fmla="val 347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576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752600" y="5638800"/>
            <a:ext cx="208632" cy="194173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just">
              <a:defRPr/>
            </a:pPr>
            <a:endParaRPr lang="en-US" sz="1000" b="1" dirty="0">
              <a:solidFill>
                <a:prstClr val="black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80446" y="5641845"/>
            <a:ext cx="171376" cy="200307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just">
              <a:defRPr/>
            </a:pPr>
            <a:endParaRPr lang="en-US" sz="1000" b="1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48640" y="5638800"/>
            <a:ext cx="1051560" cy="3810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en-US" sz="1200" dirty="0"/>
              <a:t>Not </a:t>
            </a:r>
            <a:r>
              <a:rPr lang="en-US" sz="1200" dirty="0" smtClean="0"/>
              <a:t>available</a:t>
            </a:r>
          </a:p>
          <a:p>
            <a:r>
              <a:rPr lang="en-US" sz="1200" dirty="0" smtClean="0"/>
              <a:t> </a:t>
            </a:r>
            <a:r>
              <a:rPr lang="en-US" sz="1200" dirty="0"/>
              <a:t>OOTB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223526" y="1718822"/>
            <a:ext cx="3891274" cy="3689291"/>
            <a:chOff x="4759413" y="1905199"/>
            <a:chExt cx="3964408" cy="3886001"/>
          </a:xfrm>
        </p:grpSpPr>
        <p:sp>
          <p:nvSpPr>
            <p:cNvPr id="18" name="Rounded Rectangle 17"/>
            <p:cNvSpPr/>
            <p:nvPr/>
          </p:nvSpPr>
          <p:spPr bwMode="auto">
            <a:xfrm>
              <a:off x="5137752" y="3192611"/>
              <a:ext cx="3200400" cy="29024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Sales Management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9" name="Group 4"/>
            <p:cNvGrpSpPr/>
            <p:nvPr/>
          </p:nvGrpSpPr>
          <p:grpSpPr>
            <a:xfrm>
              <a:off x="5132352" y="3557251"/>
              <a:ext cx="3198722" cy="386986"/>
              <a:chOff x="5132352" y="3563480"/>
              <a:chExt cx="3198722" cy="386986"/>
            </a:xfrm>
          </p:grpSpPr>
          <p:sp>
            <p:nvSpPr>
              <p:cNvPr id="36" name="Rounded Rectangle 35"/>
              <p:cNvSpPr/>
              <p:nvPr/>
            </p:nvSpPr>
            <p:spPr bwMode="auto">
              <a:xfrm>
                <a:off x="5132352" y="35634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Lead Management</a:t>
                </a:r>
              </a:p>
            </p:txBody>
          </p:sp>
          <p:sp>
            <p:nvSpPr>
              <p:cNvPr id="37" name="Rounded Rectangle 36"/>
              <p:cNvSpPr/>
              <p:nvPr/>
            </p:nvSpPr>
            <p:spPr bwMode="auto">
              <a:xfrm>
                <a:off x="6236875" y="35634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Opportunity 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Management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Rounded Rectangle 37"/>
              <p:cNvSpPr/>
              <p:nvPr/>
            </p:nvSpPr>
            <p:spPr bwMode="auto">
              <a:xfrm>
                <a:off x="7341398" y="35634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Sales Campaigns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0" name="Rounded Rectangle 19"/>
            <p:cNvSpPr/>
            <p:nvPr/>
          </p:nvSpPr>
          <p:spPr bwMode="auto">
            <a:xfrm>
              <a:off x="5137755" y="1905199"/>
              <a:ext cx="3200400" cy="29024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Sales Planning</a:t>
              </a:r>
            </a:p>
          </p:txBody>
        </p:sp>
        <p:grpSp>
          <p:nvGrpSpPr>
            <p:cNvPr id="21" name="Group 6"/>
            <p:cNvGrpSpPr/>
            <p:nvPr/>
          </p:nvGrpSpPr>
          <p:grpSpPr>
            <a:xfrm>
              <a:off x="5145023" y="2269839"/>
              <a:ext cx="3186051" cy="386986"/>
              <a:chOff x="5145023" y="2246080"/>
              <a:chExt cx="3186051" cy="386986"/>
            </a:xfrm>
          </p:grpSpPr>
          <p:sp>
            <p:nvSpPr>
              <p:cNvPr id="33" name="Rounded Rectangle 32"/>
              <p:cNvSpPr/>
              <p:nvPr/>
            </p:nvSpPr>
            <p:spPr bwMode="auto">
              <a:xfrm>
                <a:off x="5145023" y="22460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Sales Predictor</a:t>
                </a:r>
              </a:p>
            </p:txBody>
          </p:sp>
          <p:sp>
            <p:nvSpPr>
              <p:cNvPr id="34" name="Rounded Rectangle 33"/>
              <p:cNvSpPr/>
              <p:nvPr/>
            </p:nvSpPr>
            <p:spPr bwMode="auto">
              <a:xfrm>
                <a:off x="6243211" y="22460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Forecast Management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ounded Rectangle 34"/>
              <p:cNvSpPr/>
              <p:nvPr/>
            </p:nvSpPr>
            <p:spPr bwMode="auto">
              <a:xfrm>
                <a:off x="7341398" y="22460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Territory Management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2" name="Rounded Rectangle 21"/>
            <p:cNvSpPr/>
            <p:nvPr/>
          </p:nvSpPr>
          <p:spPr bwMode="auto">
            <a:xfrm rot="5400000">
              <a:off x="6645865" y="3713244"/>
              <a:ext cx="3886001" cy="269911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dirty="0" smtClean="0">
                <a:solidFill>
                  <a:schemeClr val="bg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Reporting &amp; Analytic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23" name="Group 5"/>
            <p:cNvGrpSpPr/>
            <p:nvPr/>
          </p:nvGrpSpPr>
          <p:grpSpPr>
            <a:xfrm>
              <a:off x="5145024" y="2731225"/>
              <a:ext cx="3186050" cy="386986"/>
              <a:chOff x="5145024" y="2723309"/>
              <a:chExt cx="3186050" cy="386986"/>
            </a:xfrm>
          </p:grpSpPr>
          <p:sp>
            <p:nvSpPr>
              <p:cNvPr id="30" name="Rounded Rectangle 29"/>
              <p:cNvSpPr/>
              <p:nvPr/>
            </p:nvSpPr>
            <p:spPr bwMode="auto">
              <a:xfrm>
                <a:off x="7341398" y="2723309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Quota Management</a:t>
                </a:r>
              </a:p>
            </p:txBody>
          </p:sp>
          <p:sp>
            <p:nvSpPr>
              <p:cNvPr id="31" name="Rounded Rectangle 30"/>
              <p:cNvSpPr/>
              <p:nvPr/>
            </p:nvSpPr>
            <p:spPr bwMode="auto">
              <a:xfrm>
                <a:off x="5145024" y="2723309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Partner Management</a:t>
                </a:r>
              </a:p>
            </p:txBody>
          </p:sp>
          <p:sp>
            <p:nvSpPr>
              <p:cNvPr id="32" name="Rounded Rectangle 31"/>
              <p:cNvSpPr/>
              <p:nvPr/>
            </p:nvSpPr>
            <p:spPr bwMode="auto">
              <a:xfrm>
                <a:off x="6169485" y="2723309"/>
                <a:ext cx="1137128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Incentive Compensation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4" name="Rounded Rectangle 23"/>
            <p:cNvSpPr/>
            <p:nvPr/>
          </p:nvSpPr>
          <p:spPr bwMode="auto">
            <a:xfrm rot="16200000">
              <a:off x="2951369" y="3713243"/>
              <a:ext cx="3886000" cy="269911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Mobile Sales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ounded Rectangle 24"/>
            <p:cNvSpPr/>
            <p:nvPr/>
          </p:nvSpPr>
          <p:spPr bwMode="auto">
            <a:xfrm>
              <a:off x="5123926" y="5500959"/>
              <a:ext cx="3174458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Workload Based Assignments</a:t>
              </a:r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26" name="Rounded Rectangle 25"/>
            <p:cNvSpPr/>
            <p:nvPr/>
          </p:nvSpPr>
          <p:spPr bwMode="auto">
            <a:xfrm>
              <a:off x="5123926" y="4382245"/>
              <a:ext cx="3188286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Data Migration Accelerators</a:t>
              </a:r>
            </a:p>
          </p:txBody>
        </p:sp>
        <p:sp>
          <p:nvSpPr>
            <p:cNvPr id="27" name="Rounded Rectangle 26"/>
            <p:cNvSpPr/>
            <p:nvPr/>
          </p:nvSpPr>
          <p:spPr bwMode="auto">
            <a:xfrm>
              <a:off x="5123926" y="4755150"/>
              <a:ext cx="3174469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Real Time Integrations</a:t>
              </a:r>
            </a:p>
          </p:txBody>
        </p:sp>
        <p:sp>
          <p:nvSpPr>
            <p:cNvPr id="28" name="Rounded Rectangle 27"/>
            <p:cNvSpPr/>
            <p:nvPr/>
          </p:nvSpPr>
          <p:spPr bwMode="auto">
            <a:xfrm>
              <a:off x="5123926" y="5128055"/>
              <a:ext cx="3188287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Error Handling Framework</a:t>
              </a:r>
            </a:p>
          </p:txBody>
        </p:sp>
        <p:sp>
          <p:nvSpPr>
            <p:cNvPr id="29" name="Rounded Rectangle 28"/>
            <p:cNvSpPr/>
            <p:nvPr/>
          </p:nvSpPr>
          <p:spPr bwMode="auto">
            <a:xfrm>
              <a:off x="5123922" y="4018637"/>
              <a:ext cx="3200400" cy="29024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Desktop (MS Outlook) Integration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2133600" y="5562600"/>
            <a:ext cx="1905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 smtClean="0">
                <a:latin typeface="+mn-lt"/>
              </a:rPr>
              <a:t>Configured OOTB modules to </a:t>
            </a:r>
            <a:br>
              <a:rPr lang="en-US" sz="1200" b="1" dirty="0" smtClean="0">
                <a:latin typeface="+mn-lt"/>
              </a:rPr>
            </a:br>
            <a:r>
              <a:rPr lang="en-US" sz="1200" b="1" dirty="0" smtClean="0">
                <a:latin typeface="+mn-lt"/>
              </a:rPr>
              <a:t>form E2E Solution Flow</a:t>
            </a:r>
            <a:endParaRPr lang="en-US" sz="1200" b="1" dirty="0">
              <a:latin typeface="+mn-lt"/>
            </a:endParaRPr>
          </a:p>
        </p:txBody>
      </p:sp>
      <p:sp>
        <p:nvSpPr>
          <p:cNvPr id="40" name="Round Same Side Corner Rectangle 7"/>
          <p:cNvSpPr/>
          <p:nvPr/>
        </p:nvSpPr>
        <p:spPr bwMode="auto">
          <a:xfrm>
            <a:off x="152399" y="1295401"/>
            <a:ext cx="4044267" cy="336026"/>
          </a:xfrm>
          <a:prstGeom prst="round2SameRect">
            <a:avLst>
              <a:gd name="adj1" fmla="val 39543"/>
              <a:gd name="adj2" fmla="val 0"/>
            </a:avLst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Oracle Sales Cloud</a:t>
            </a:r>
          </a:p>
        </p:txBody>
      </p:sp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590800"/>
            <a:ext cx="44196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3640" t="9510" r="3647" b="67228"/>
          <a:stretch/>
        </p:blipFill>
        <p:spPr>
          <a:xfrm>
            <a:off x="7578368" y="171650"/>
            <a:ext cx="1284901" cy="685800"/>
          </a:xfrm>
          <a:prstGeom prst="roundRect">
            <a:avLst/>
          </a:prstGeom>
        </p:spPr>
      </p:pic>
      <p:sp>
        <p:nvSpPr>
          <p:cNvPr id="45" name="Rectangle 6"/>
          <p:cNvSpPr>
            <a:spLocks noChangeArrowheads="1"/>
          </p:cNvSpPr>
          <p:nvPr/>
        </p:nvSpPr>
        <p:spPr bwMode="auto">
          <a:xfrm>
            <a:off x="4419600" y="1309092"/>
            <a:ext cx="4343400" cy="112930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 Knowledge &amp; experience gained from CRM   Advantage will be used optimally for this solution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 Solutions built for Telco offering will be used to enrich &amp; expand the CRM Advantage solu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Timelines &amp; Benefits to Capgemini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228600" y="1219200"/>
            <a:ext cx="87630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000" dirty="0" smtClean="0">
              <a:latin typeface="+mj-lt"/>
              <a:ea typeface="+mj-ea"/>
              <a:cs typeface="+mj-cs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304800" y="3931920"/>
            <a:ext cx="8651631" cy="216181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Basic Integrated solution planned to be available after Phase 2 (end of Q3 2015)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Phase 3 &amp; ahead will focus on augmenting it with more complex functionality over the base soln.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 There will be a Phase Zero for 3 weeks focusing on procuring of environments, licenses &amp; resources  as well as elaboration of the high level requirements.</a:t>
            </a:r>
          </a:p>
          <a:p>
            <a:pPr lvl="0">
              <a:spcBef>
                <a:spcPct val="0"/>
              </a:spcBef>
              <a:defRPr/>
            </a:pPr>
            <a:endParaRPr lang="en-US" sz="1600" dirty="0" smtClean="0"/>
          </a:p>
          <a:p>
            <a:pPr lvl="0">
              <a:spcBef>
                <a:spcPct val="0"/>
              </a:spcBef>
              <a:defRPr/>
            </a:pPr>
            <a:endParaRPr lang="en-US" sz="1600" b="1" dirty="0" smtClean="0"/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endParaRPr lang="en-US" sz="1600" dirty="0" smtClean="0"/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endParaRPr lang="en-US" sz="1600" dirty="0"/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990600"/>
            <a:ext cx="8077200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04800" y="5181600"/>
            <a:ext cx="8686800" cy="96797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i="1" dirty="0" smtClean="0">
                <a:solidFill>
                  <a:schemeClr val="accent1">
                    <a:lumMod val="75000"/>
                  </a:schemeClr>
                </a:solidFill>
              </a:rPr>
              <a:t>This implementation will help to  </a:t>
            </a:r>
            <a:r>
              <a:rPr lang="en-US" b="1" i="1" dirty="0" smtClean="0">
                <a:solidFill>
                  <a:schemeClr val="accent1">
                    <a:lumMod val="75000"/>
                  </a:schemeClr>
                </a:solidFill>
              </a:rPr>
              <a:t>add significant value to our CRM Advantage </a:t>
            </a:r>
            <a:r>
              <a:rPr lang="en-US" i="1" dirty="0" smtClean="0">
                <a:solidFill>
                  <a:schemeClr val="accent1">
                    <a:lumMod val="75000"/>
                  </a:schemeClr>
                </a:solidFill>
              </a:rPr>
              <a:t>offering as well as help </a:t>
            </a:r>
            <a:r>
              <a:rPr lang="en-US" b="1" i="1" dirty="0" smtClean="0">
                <a:solidFill>
                  <a:schemeClr val="accent1">
                    <a:lumMod val="75000"/>
                  </a:schemeClr>
                </a:solidFill>
              </a:rPr>
              <a:t>build our capability</a:t>
            </a:r>
            <a:r>
              <a:rPr lang="en-US" i="1" dirty="0" smtClean="0">
                <a:solidFill>
                  <a:schemeClr val="accent1">
                    <a:lumMod val="75000"/>
                  </a:schemeClr>
                </a:solidFill>
              </a:rPr>
              <a:t> since our team has not worked on couple of these cloud products and their integration with Sales Cloud</a:t>
            </a:r>
            <a:endParaRPr lang="en-US" i="1" dirty="0" smtClean="0">
              <a:solidFill>
                <a:schemeClr val="accent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Solution Implementation Approach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263769" y="1219200"/>
            <a:ext cx="8651631" cy="525934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514350" lvl="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Phase I 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Account, Leads &amp; Opty Management for desktop &amp; mobile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ustomer sync between Sales Cloud &amp; BRM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Reports &amp; Mobilytics for Sales Cloud</a:t>
            </a:r>
          </a:p>
          <a:p>
            <a:pPr marL="514350" lvl="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Phase 2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Asset Mgmt &amp; Reporting in Sales Cloud &amp; basic integration with Service &amp; CPQ Cloud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Products, Pricing, Quotes &amp; Order Mgmt in CPQ Cloud &amp; Incident Mgmt in Service Cloud</a:t>
            </a:r>
          </a:p>
          <a:p>
            <a:pPr marL="514350" lvl="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Phase 3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omplex order mgmt functionality - modify, suspend, resume &amp; disconnect orders.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Invoicing &amp; Payment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Order Fulfillment &amp; Provisioning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reation of incidents in Sales Cloud &amp; Opportunities in Service Cloud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Integration of Sales Cloud with OBIEE</a:t>
            </a:r>
          </a:p>
          <a:p>
            <a:pPr marL="51435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endParaRPr lang="en-US" sz="1600" b="1" dirty="0" smtClean="0">
              <a:latin typeface="Calibri" pitchFamily="34" charset="0"/>
              <a:cs typeface="Calibri" pitchFamily="34" charset="0"/>
            </a:endParaRPr>
          </a:p>
          <a:p>
            <a:pPr marL="51435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Future  roadmap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Integration of all clouds with OBIEE &amp; Mobiles / Tablet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TI  &amp; Social Integration for Sales &amp; Service Cloud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Introduce Marketing Cloud in the CX Cloud solution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endParaRPr lang="en-US" sz="1600" dirty="0" smtClean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99</TotalTime>
  <Words>1061</Words>
  <Application>Microsoft Office PowerPoint</Application>
  <PresentationFormat>On-screen Show (4:3)</PresentationFormat>
  <Paragraphs>162</Paragraphs>
  <Slides>12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Office Theme</vt:lpstr>
      <vt:lpstr>Slide 1</vt:lpstr>
      <vt:lpstr>What we hear from the Telco customers......</vt:lpstr>
      <vt:lpstr>Slide 3</vt:lpstr>
      <vt:lpstr>Key Drivers</vt:lpstr>
      <vt:lpstr>Solution Architecture (RODOD - Lite for Telco)</vt:lpstr>
      <vt:lpstr>Order to Cash to Care – Business Process Flow</vt:lpstr>
      <vt:lpstr>Leverage &amp; Enrich CRM Advantage </vt:lpstr>
      <vt:lpstr>Timelines &amp; Benefits to Capgemini</vt:lpstr>
      <vt:lpstr>Solution Implementation Approach</vt:lpstr>
      <vt:lpstr>Proposed Staffing &amp; Budget</vt:lpstr>
      <vt:lpstr>Risks &amp; Dependencies</vt:lpstr>
      <vt:lpstr>Environment Dependencie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jective: Design Telco solutions on Oracle CX components</dc:title>
  <dc:creator>Mohammed, Muzamil</dc:creator>
  <cp:lastModifiedBy>gagnaik</cp:lastModifiedBy>
  <cp:revision>201</cp:revision>
  <dcterms:created xsi:type="dcterms:W3CDTF">2006-08-16T00:00:00Z</dcterms:created>
  <dcterms:modified xsi:type="dcterms:W3CDTF">2017-09-24T16:53:42Z</dcterms:modified>
</cp:coreProperties>
</file>